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8"/>
  </p:notesMasterIdLst>
  <p:handoutMasterIdLst>
    <p:handoutMasterId r:id="rId9"/>
  </p:handoutMasterIdLst>
  <p:sldIdLst>
    <p:sldId id="256" r:id="rId5"/>
    <p:sldId id="257" r:id="rId6"/>
    <p:sldId id="366" r:id="rId7"/>
  </p:sldIdLst>
  <p:sldSz cx="96012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21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DD589C2-2701-4EA4-AC4D-6B51922DDE53}" v="51" dt="2024-04-02T19:22:38.652"/>
  </p1510:revLst>
</p1510:revInfo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tx1"/>
              </a:solidFill>
            </a:ln>
          </a:bottom>
          <a:insideH>
            <a:ln w="9525" cap="flat" cmpd="sng" algn="ctr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67" d="100"/>
          <a:sy n="67" d="100"/>
        </p:scale>
        <p:origin x="118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rin Kuhn" userId="6c0b2de5-0a43-452c-9976-d52a21305b56" providerId="ADAL" clId="{7DD589C2-2701-4EA4-AC4D-6B51922DDE53}"/>
    <pc:docChg chg="undo custSel addSld delSld modSld">
      <pc:chgData name="Erin Kuhn" userId="6c0b2de5-0a43-452c-9976-d52a21305b56" providerId="ADAL" clId="{7DD589C2-2701-4EA4-AC4D-6B51922DDE53}" dt="2024-04-03T01:09:51.877" v="660" actId="20577"/>
      <pc:docMkLst>
        <pc:docMk/>
      </pc:docMkLst>
      <pc:sldChg chg="modSp mod">
        <pc:chgData name="Erin Kuhn" userId="6c0b2de5-0a43-452c-9976-d52a21305b56" providerId="ADAL" clId="{7DD589C2-2701-4EA4-AC4D-6B51922DDE53}" dt="2024-04-02T19:15:06.052" v="615" actId="20577"/>
        <pc:sldMkLst>
          <pc:docMk/>
          <pc:sldMk cId="1640524470" sldId="256"/>
        </pc:sldMkLst>
        <pc:spChg chg="mod">
          <ac:chgData name="Erin Kuhn" userId="6c0b2de5-0a43-452c-9976-d52a21305b56" providerId="ADAL" clId="{7DD589C2-2701-4EA4-AC4D-6B51922DDE53}" dt="2024-04-02T19:15:06.052" v="615" actId="20577"/>
          <ac:spMkLst>
            <pc:docMk/>
            <pc:sldMk cId="1640524470" sldId="256"/>
            <ac:spMk id="11" creationId="{9CA73854-5015-41DF-ACF3-6EEF26C79971}"/>
          </ac:spMkLst>
        </pc:spChg>
      </pc:sldChg>
      <pc:sldChg chg="addSp delSp modSp mod modAnim">
        <pc:chgData name="Erin Kuhn" userId="6c0b2de5-0a43-452c-9976-d52a21305b56" providerId="ADAL" clId="{7DD589C2-2701-4EA4-AC4D-6B51922DDE53}" dt="2024-04-03T01:09:51.877" v="660" actId="20577"/>
        <pc:sldMkLst>
          <pc:docMk/>
          <pc:sldMk cId="2500870695" sldId="257"/>
        </pc:sldMkLst>
        <pc:spChg chg="del">
          <ac:chgData name="Erin Kuhn" userId="6c0b2de5-0a43-452c-9976-d52a21305b56" providerId="ADAL" clId="{7DD589C2-2701-4EA4-AC4D-6B51922DDE53}" dt="2024-04-02T18:22:49.193" v="5" actId="478"/>
          <ac:spMkLst>
            <pc:docMk/>
            <pc:sldMk cId="2500870695" sldId="257"/>
            <ac:spMk id="2" creationId="{050DBDEB-5BF1-4D13-BA92-F45B4A849CDB}"/>
          </ac:spMkLst>
        </pc:spChg>
        <pc:spChg chg="mod">
          <ac:chgData name="Erin Kuhn" userId="6c0b2de5-0a43-452c-9976-d52a21305b56" providerId="ADAL" clId="{7DD589C2-2701-4EA4-AC4D-6B51922DDE53}" dt="2024-04-03T01:09:51.877" v="660" actId="20577"/>
          <ac:spMkLst>
            <pc:docMk/>
            <pc:sldMk cId="2500870695" sldId="257"/>
            <ac:spMk id="3" creationId="{932AD5DB-D69D-3DDF-CA08-13F3D1F755E2}"/>
          </ac:spMkLst>
        </pc:spChg>
        <pc:spChg chg="mod">
          <ac:chgData name="Erin Kuhn" userId="6c0b2de5-0a43-452c-9976-d52a21305b56" providerId="ADAL" clId="{7DD589C2-2701-4EA4-AC4D-6B51922DDE53}" dt="2024-04-02T18:58:57.462" v="297" actId="5793"/>
          <ac:spMkLst>
            <pc:docMk/>
            <pc:sldMk cId="2500870695" sldId="257"/>
            <ac:spMk id="5" creationId="{00B0EE8B-372B-4248-B9FE-F6BE27151782}"/>
          </ac:spMkLst>
        </pc:spChg>
        <pc:spChg chg="add del mod">
          <ac:chgData name="Erin Kuhn" userId="6c0b2de5-0a43-452c-9976-d52a21305b56" providerId="ADAL" clId="{7DD589C2-2701-4EA4-AC4D-6B51922DDE53}" dt="2024-04-02T18:22:50.757" v="6" actId="478"/>
          <ac:spMkLst>
            <pc:docMk/>
            <pc:sldMk cId="2500870695" sldId="257"/>
            <ac:spMk id="6" creationId="{7A5C68BA-66EC-D353-1F05-76052051C6B3}"/>
          </ac:spMkLst>
        </pc:spChg>
        <pc:spChg chg="add del mod">
          <ac:chgData name="Erin Kuhn" userId="6c0b2de5-0a43-452c-9976-d52a21305b56" providerId="ADAL" clId="{7DD589C2-2701-4EA4-AC4D-6B51922DDE53}" dt="2024-04-02T19:04:37.325" v="363"/>
          <ac:spMkLst>
            <pc:docMk/>
            <pc:sldMk cId="2500870695" sldId="257"/>
            <ac:spMk id="11" creationId="{A27A7677-FB8E-D84B-C2A5-925FDF368584}"/>
          </ac:spMkLst>
        </pc:spChg>
        <pc:picChg chg="add mod">
          <ac:chgData name="Erin Kuhn" userId="6c0b2de5-0a43-452c-9976-d52a21305b56" providerId="ADAL" clId="{7DD589C2-2701-4EA4-AC4D-6B51922DDE53}" dt="2024-04-02T19:02:37.396" v="360" actId="14100"/>
          <ac:picMkLst>
            <pc:docMk/>
            <pc:sldMk cId="2500870695" sldId="257"/>
            <ac:picMk id="8" creationId="{8A02A67E-8BED-D2F1-798E-CC54F30D7888}"/>
          </ac:picMkLst>
        </pc:picChg>
        <pc:picChg chg="add mod">
          <ac:chgData name="Erin Kuhn" userId="6c0b2de5-0a43-452c-9976-d52a21305b56" providerId="ADAL" clId="{7DD589C2-2701-4EA4-AC4D-6B51922DDE53}" dt="2024-04-02T19:02:24.246" v="359" actId="1076"/>
          <ac:picMkLst>
            <pc:docMk/>
            <pc:sldMk cId="2500870695" sldId="257"/>
            <ac:picMk id="10" creationId="{86134001-65D8-7EED-9D95-2B6C73853DF9}"/>
          </ac:picMkLst>
        </pc:picChg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3946492918" sldId="259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830200315" sldId="261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352109886" sldId="262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611770147" sldId="263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3998499368" sldId="264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2883027223" sldId="265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824628771" sldId="266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806388557" sldId="267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3053040135" sldId="268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393750634" sldId="269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2444372044" sldId="270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548947576" sldId="271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925869198" sldId="272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3514438248" sldId="273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603143313" sldId="274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240479275" sldId="275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092905190" sldId="276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3027159336" sldId="277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024101366" sldId="279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2819506080" sldId="282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460012808" sldId="283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2780313810" sldId="284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484713205" sldId="285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2287253713" sldId="286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361014432" sldId="287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675212420" sldId="288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998085001" sldId="289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3649063471" sldId="290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238404370" sldId="291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288371831" sldId="292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337484941" sldId="293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5997908" sldId="294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238951357" sldId="295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3016676498" sldId="296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380741505" sldId="297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3291034496" sldId="298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257311424" sldId="299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042064397" sldId="300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2694670653" sldId="301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4174484745" sldId="302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959334304" sldId="303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48973729" sldId="304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2117118547" sldId="305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2579574634" sldId="306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4160681490" sldId="307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3974670210" sldId="328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630742946" sldId="329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2257955443" sldId="330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959307488" sldId="331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896954646" sldId="332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3062125193" sldId="333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345923654" sldId="334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88841150" sldId="335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454190777" sldId="336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980544661" sldId="337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3625713674" sldId="338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326931943" sldId="339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3493981632" sldId="340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608443786" sldId="341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058027782" sldId="342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2221885654" sldId="343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2431256768" sldId="344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4040835340" sldId="345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3598112525" sldId="346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1253997997" sldId="347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3977813448" sldId="348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3821170762" sldId="349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414144495" sldId="350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3250931812" sldId="351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660848721" sldId="352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2035299160" sldId="356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4137385549" sldId="357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367085060" sldId="358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403829428" sldId="359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2217605795" sldId="360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2920569767" sldId="361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879158715" sldId="362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2143665846" sldId="363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3460547680" sldId="364"/>
        </pc:sldMkLst>
      </pc:sldChg>
      <pc:sldChg chg="del">
        <pc:chgData name="Erin Kuhn" userId="6c0b2de5-0a43-452c-9976-d52a21305b56" providerId="ADAL" clId="{7DD589C2-2701-4EA4-AC4D-6B51922DDE53}" dt="2024-04-02T19:16:34.740" v="618" actId="47"/>
        <pc:sldMkLst>
          <pc:docMk/>
          <pc:sldMk cId="2173984978" sldId="365"/>
        </pc:sldMkLst>
      </pc:sldChg>
      <pc:sldChg chg="addSp delSp modSp add mod modAnim">
        <pc:chgData name="Erin Kuhn" userId="6c0b2de5-0a43-452c-9976-d52a21305b56" providerId="ADAL" clId="{7DD589C2-2701-4EA4-AC4D-6B51922DDE53}" dt="2024-04-02T19:22:38.652" v="656" actId="20577"/>
        <pc:sldMkLst>
          <pc:docMk/>
          <pc:sldMk cId="2858798550" sldId="366"/>
        </pc:sldMkLst>
        <pc:spChg chg="mod">
          <ac:chgData name="Erin Kuhn" userId="6c0b2de5-0a43-452c-9976-d52a21305b56" providerId="ADAL" clId="{7DD589C2-2701-4EA4-AC4D-6B51922DDE53}" dt="2024-04-02T19:17:40.739" v="622" actId="20577"/>
          <ac:spMkLst>
            <pc:docMk/>
            <pc:sldMk cId="2858798550" sldId="366"/>
            <ac:spMk id="3" creationId="{72FA27AE-E41A-5812-A550-85CAB25A7AA2}"/>
          </ac:spMkLst>
        </pc:spChg>
        <pc:spChg chg="mod">
          <ac:chgData name="Erin Kuhn" userId="6c0b2de5-0a43-452c-9976-d52a21305b56" providerId="ADAL" clId="{7DD589C2-2701-4EA4-AC4D-6B51922DDE53}" dt="2024-04-02T19:22:38.652" v="656" actId="20577"/>
          <ac:spMkLst>
            <pc:docMk/>
            <pc:sldMk cId="2858798550" sldId="366"/>
            <ac:spMk id="5" creationId="{D415320D-211B-3656-BFCF-C98601410563}"/>
          </ac:spMkLst>
        </pc:spChg>
        <pc:spChg chg="add del mod">
          <ac:chgData name="Erin Kuhn" userId="6c0b2de5-0a43-452c-9976-d52a21305b56" providerId="ADAL" clId="{7DD589C2-2701-4EA4-AC4D-6B51922DDE53}" dt="2024-04-02T19:17:55.715" v="624" actId="478"/>
          <ac:spMkLst>
            <pc:docMk/>
            <pc:sldMk cId="2858798550" sldId="366"/>
            <ac:spMk id="6" creationId="{3B74440D-EF79-8214-2E18-444A8F0940D1}"/>
          </ac:spMkLst>
        </pc:spChg>
        <pc:picChg chg="add mod">
          <ac:chgData name="Erin Kuhn" userId="6c0b2de5-0a43-452c-9976-d52a21305b56" providerId="ADAL" clId="{7DD589C2-2701-4EA4-AC4D-6B51922DDE53}" dt="2024-04-02T19:08:56.349" v="592" actId="1076"/>
          <ac:picMkLst>
            <pc:docMk/>
            <pc:sldMk cId="2858798550" sldId="366"/>
            <ac:picMk id="4" creationId="{BFD2C1DD-B429-E032-EF53-EEBDB5510BF0}"/>
          </ac:picMkLst>
        </pc:picChg>
        <pc:picChg chg="del">
          <ac:chgData name="Erin Kuhn" userId="6c0b2de5-0a43-452c-9976-d52a21305b56" providerId="ADAL" clId="{7DD589C2-2701-4EA4-AC4D-6B51922DDE53}" dt="2024-04-02T19:04:58.983" v="377" actId="478"/>
          <ac:picMkLst>
            <pc:docMk/>
            <pc:sldMk cId="2858798550" sldId="366"/>
            <ac:picMk id="10" creationId="{752AF561-0C95-9C44-F566-31DDDB8CDE51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US"/>
              <a:t>4/2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US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US"/>
              <a:t>4/2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US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68413" y="1143000"/>
            <a:ext cx="432117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501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68413" y="1143000"/>
            <a:ext cx="432117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52099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E22B78-0FB9-1556-F1EB-8674D6FDCB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6AB78A-8300-785B-3DC4-CD803911FE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1268413" y="1143000"/>
            <a:ext cx="4321175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194858-096F-86E7-1CAB-E588391A6A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F94F1F-2BDE-E4A7-E1F2-6B640145C6C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95545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A51F458-353A-EA94-AFB8-3E420A107EC8}"/>
              </a:ext>
            </a:extLst>
          </p:cNvPr>
          <p:cNvSpPr/>
          <p:nvPr userDrawn="1"/>
        </p:nvSpPr>
        <p:spPr>
          <a:xfrm>
            <a:off x="0" y="1683729"/>
            <a:ext cx="9601200" cy="5186218"/>
          </a:xfrm>
          <a:prstGeom prst="rect">
            <a:avLst/>
          </a:prstGeom>
          <a:solidFill>
            <a:srgbClr val="0121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BD5C15-A503-4AA3-99DD-E0A1842437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2338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BD5C15-A503-4AA3-99DD-E0A1842437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47FBCC5C-10BC-8D2F-1BD4-6B1A4356C3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212536"/>
            <a:ext cx="8686800" cy="609398"/>
          </a:xfrm>
        </p:spPr>
        <p:txBody>
          <a:bodyPr wrap="square" lIns="0" tIns="0" rIns="0" bIns="0" anchor="b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5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Title: </a:t>
            </a:r>
            <a:r>
              <a:rPr lang="en-GB" spc="0" dirty="0">
                <a:latin typeface="Arial" panose="020B0604020202020204" pitchFamily="34" charset="0"/>
                <a:cs typeface="Arial" panose="020B0604020202020204" pitchFamily="34" charset="0"/>
              </a:rPr>
              <a:t>Arial 45pt Regular</a:t>
            </a:r>
            <a:endParaRPr lang="en-US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9CD9885C-5BBC-E2C4-3F19-EC39C7C860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3954557"/>
            <a:ext cx="8686800" cy="270843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title: Arial 20pt Regular</a:t>
            </a:r>
          </a:p>
        </p:txBody>
      </p:sp>
      <p:sp>
        <p:nvSpPr>
          <p:cNvPr id="7" name="Presenter">
            <a:extLst>
              <a:ext uri="{FF2B5EF4-FFF2-40B4-BE49-F238E27FC236}">
                <a16:creationId xmlns:a16="http://schemas.microsoft.com/office/drawing/2014/main" id="{ABB0C9CE-A2ED-D7B3-A8AA-48E92EA3F3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397314"/>
            <a:ext cx="8686800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+mj-lt"/>
              </a:defRPr>
            </a:lvl1pPr>
            <a:lvl2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Date or presenter: Arial 18pt Regula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5EAAC5-6114-A35E-D2CD-C71EBF59C16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384175"/>
            <a:ext cx="2937147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200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E301621-9060-4E08-B52A-706D01F431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2665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E301621-9060-4E08-B52A-706D01F431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Top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86868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9pPr>
          </a:lstStyle>
          <a:p>
            <a:pPr lvl="0"/>
            <a:r>
              <a:rPr dirty="0"/>
              <a:t>Heading 14 </a:t>
            </a:r>
            <a:r>
              <a:rPr dirty="0" err="1"/>
              <a:t>pt</a:t>
            </a:r>
            <a:endParaRPr dirty="0"/>
          </a:p>
          <a:p>
            <a:pPr lvl="1"/>
            <a:r>
              <a:rPr dirty="0"/>
              <a:t>Subheading 14 </a:t>
            </a:r>
            <a:r>
              <a:rPr dirty="0" err="1"/>
              <a:t>pt</a:t>
            </a:r>
            <a:endParaRPr dirty="0"/>
          </a:p>
        </p:txBody>
      </p:sp>
      <p:sp>
        <p:nvSpPr>
          <p:cNvPr id="4" name="Content Top"/>
          <p:cNvSpPr>
            <a:spLocks noGrp="1"/>
          </p:cNvSpPr>
          <p:nvPr>
            <p:ph idx="11"/>
          </p:nvPr>
        </p:nvSpPr>
        <p:spPr>
          <a:xfrm>
            <a:off x="457200" y="1883664"/>
            <a:ext cx="8686800" cy="181113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Bottom"/>
          <p:cNvSpPr>
            <a:spLocks noGrp="1"/>
          </p:cNvSpPr>
          <p:nvPr>
            <p:ph type="body" idx="13" hasCustomPrompt="1"/>
          </p:nvPr>
        </p:nvSpPr>
        <p:spPr>
          <a:xfrm>
            <a:off x="457200" y="3914537"/>
            <a:ext cx="86868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Bottom"/>
          <p:cNvSpPr>
            <a:spLocks noGrp="1"/>
          </p:cNvSpPr>
          <p:nvPr>
            <p:ph idx="12"/>
          </p:nvPr>
        </p:nvSpPr>
        <p:spPr>
          <a:xfrm>
            <a:off x="457200" y="4399168"/>
            <a:ext cx="8686800" cy="181113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orient="horz" pos="1187">
          <p15:clr>
            <a:srgbClr val="FBAE40"/>
          </p15:clr>
        </p15:guide>
        <p15:guide id="3" orient="horz" pos="2464" userDrawn="1">
          <p15:clr>
            <a:srgbClr val="FBAE40"/>
          </p15:clr>
        </p15:guide>
        <p15:guide id="4" orient="horz" pos="276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3755237-E662-4F8F-9C69-D3C5CD10D8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58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3755237-E662-4F8F-9C69-D3C5CD10D8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2587752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883664"/>
            <a:ext cx="2587752" cy="43266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5637276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3506724" y="1883664"/>
            <a:ext cx="5637276" cy="43266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1918">
          <p15:clr>
            <a:srgbClr val="FBAE40"/>
          </p15:clr>
        </p15:guide>
        <p15:guide id="3" pos="2209">
          <p15:clr>
            <a:srgbClr val="FBAE40"/>
          </p15:clr>
        </p15:guide>
        <p15:guide id="4" orient="horz" pos="118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FAFBC3-AD70-4DE8-9E74-A2B1BDE33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3571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FAFBC3-AD70-4DE8-9E74-A2B1BDE33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5637276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883664"/>
            <a:ext cx="5637276" cy="43266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556248" y="1399032"/>
            <a:ext cx="2587752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6556248" y="1883664"/>
            <a:ext cx="2587752" cy="43266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3839">
          <p15:clr>
            <a:srgbClr val="FBAE40"/>
          </p15:clr>
        </p15:guide>
        <p15:guide id="3" pos="4130">
          <p15:clr>
            <a:srgbClr val="FBAE40"/>
          </p15:clr>
        </p15:guide>
        <p15:guide id="4" orient="horz" pos="118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045594-2637-405F-9F48-0387C75DFB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2700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F045594-2637-405F-9F48-0387C75DF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399032"/>
            <a:ext cx="2587752" cy="481126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3506724" y="1399032"/>
            <a:ext cx="2587752" cy="481126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6556248" y="1399032"/>
            <a:ext cx="2587752" cy="481126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1918">
          <p15:clr>
            <a:srgbClr val="FBAE40"/>
          </p15:clr>
        </p15:guide>
        <p15:guide id="3" pos="2209">
          <p15:clr>
            <a:srgbClr val="FBAE40"/>
          </p15:clr>
        </p15:guide>
        <p15:guide id="4" pos="3839">
          <p15:clr>
            <a:srgbClr val="FBAE40"/>
          </p15:clr>
        </p15:guide>
        <p15:guide id="5" pos="413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6F9720B-55F9-472B-B650-19184A7E88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589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6F9720B-55F9-472B-B650-19184A7E88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1918">
          <p15:clr>
            <a:srgbClr val="FBAE40"/>
          </p15:clr>
        </p15:guide>
        <p15:guide id="3" pos="2209">
          <p15:clr>
            <a:srgbClr val="FBAE40"/>
          </p15:clr>
        </p15:guide>
        <p15:guide id="4" pos="3839">
          <p15:clr>
            <a:srgbClr val="FBAE40"/>
          </p15:clr>
        </p15:guide>
        <p15:guide id="5" pos="4130">
          <p15:clr>
            <a:srgbClr val="FBAE40"/>
          </p15:clr>
        </p15:guide>
        <p15:guide id="6" orient="horz" pos="1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0A5306D-43CE-4B6D-AC59-222B080CFD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8108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0A5306D-43CE-4B6D-AC59-222B080CF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883664"/>
            <a:ext cx="2587752" cy="43266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3506724" y="1883664"/>
            <a:ext cx="2587752" cy="43266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6556248" y="1883664"/>
            <a:ext cx="2587752" cy="43266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1918">
          <p15:clr>
            <a:srgbClr val="FBAE40"/>
          </p15:clr>
        </p15:guide>
        <p15:guide id="3" pos="2209">
          <p15:clr>
            <a:srgbClr val="FBAE40"/>
          </p15:clr>
        </p15:guide>
        <p15:guide id="4" pos="3839">
          <p15:clr>
            <a:srgbClr val="FBAE40"/>
          </p15:clr>
        </p15:guide>
        <p15:guide id="5" pos="4130">
          <p15:clr>
            <a:srgbClr val="FBAE40"/>
          </p15:clr>
        </p15:guide>
        <p15:guide id="6" orient="horz" pos="118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B4D8C2D1-0085-4444-A687-31070A6299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2971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B4D8C2D1-0085-4444-A687-31070A6299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4114800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5029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6" name="Content Right Top"/>
          <p:cNvSpPr>
            <a:spLocks noGrp="1"/>
          </p:cNvSpPr>
          <p:nvPr>
            <p:ph sz="quarter" idx="12"/>
          </p:nvPr>
        </p:nvSpPr>
        <p:spPr>
          <a:xfrm>
            <a:off x="5029200" y="1883664"/>
            <a:ext cx="4114800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457200" y="3914537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8" name="Content Left Bottom"/>
          <p:cNvSpPr>
            <a:spLocks noGrp="1"/>
          </p:cNvSpPr>
          <p:nvPr>
            <p:ph sz="quarter" idx="14"/>
          </p:nvPr>
        </p:nvSpPr>
        <p:spPr>
          <a:xfrm>
            <a:off x="457200" y="4399168"/>
            <a:ext cx="4114800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5029200" y="392887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10" name="Content Right Bottom"/>
          <p:cNvSpPr>
            <a:spLocks noGrp="1"/>
          </p:cNvSpPr>
          <p:nvPr>
            <p:ph sz="quarter" idx="16"/>
          </p:nvPr>
        </p:nvSpPr>
        <p:spPr>
          <a:xfrm>
            <a:off x="5029200" y="4399168"/>
            <a:ext cx="4114800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2880">
          <p15:clr>
            <a:srgbClr val="FBAE40"/>
          </p15:clr>
        </p15:guide>
        <p15:guide id="3" pos="3168">
          <p15:clr>
            <a:srgbClr val="FBAE40"/>
          </p15:clr>
        </p15:guide>
        <p15:guide id="4" orient="horz" pos="1187">
          <p15:clr>
            <a:srgbClr val="FBAE40"/>
          </p15:clr>
        </p15:guide>
        <p15:guide id="5" orient="horz" pos="2464" userDrawn="1">
          <p15:clr>
            <a:srgbClr val="FBAE40"/>
          </p15:clr>
        </p15:guide>
        <p15:guide id="6" orient="horz" pos="276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169B7CDA-5C33-4521-B9BB-6E7DA7CBDB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0050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169B7CDA-5C33-4521-B9BB-6E7DA7CBDB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3"/>
            <a:ext cx="2587752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6" name="Content Middle Top"/>
          <p:cNvSpPr>
            <a:spLocks noGrp="1"/>
          </p:cNvSpPr>
          <p:nvPr>
            <p:ph sz="quarter" idx="12"/>
          </p:nvPr>
        </p:nvSpPr>
        <p:spPr>
          <a:xfrm>
            <a:off x="3506724" y="1883663"/>
            <a:ext cx="2587752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8" name="Content Right Top"/>
          <p:cNvSpPr>
            <a:spLocks noGrp="1"/>
          </p:cNvSpPr>
          <p:nvPr>
            <p:ph sz="quarter" idx="14"/>
          </p:nvPr>
        </p:nvSpPr>
        <p:spPr>
          <a:xfrm>
            <a:off x="6556248" y="1883663"/>
            <a:ext cx="2587752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457200" y="3914537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2 </a:t>
            </a:r>
            <a:r>
              <a:rPr dirty="0" err="1"/>
              <a:t>pt</a:t>
            </a:r>
            <a:endParaRPr dirty="0"/>
          </a:p>
          <a:p>
            <a:pPr lvl="1"/>
            <a:r>
              <a:rPr dirty="0"/>
              <a:t>Subheading 12 </a:t>
            </a:r>
            <a:r>
              <a:rPr dirty="0" err="1"/>
              <a:t>pt</a:t>
            </a:r>
            <a:endParaRPr dirty="0"/>
          </a:p>
        </p:txBody>
      </p:sp>
      <p:sp>
        <p:nvSpPr>
          <p:cNvPr id="10" name="Content Left Bottom"/>
          <p:cNvSpPr>
            <a:spLocks noGrp="1"/>
          </p:cNvSpPr>
          <p:nvPr>
            <p:ph sz="quarter" idx="16"/>
          </p:nvPr>
        </p:nvSpPr>
        <p:spPr>
          <a:xfrm>
            <a:off x="457200" y="4399168"/>
            <a:ext cx="2587752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3506724" y="3914537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12" name="Content Middle Bottom"/>
          <p:cNvSpPr>
            <a:spLocks noGrp="1"/>
          </p:cNvSpPr>
          <p:nvPr>
            <p:ph sz="quarter" idx="18"/>
          </p:nvPr>
        </p:nvSpPr>
        <p:spPr>
          <a:xfrm>
            <a:off x="3506724" y="4399168"/>
            <a:ext cx="2587752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6556248" y="3914537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14" name="Content Right Bottom"/>
          <p:cNvSpPr>
            <a:spLocks noGrp="1"/>
          </p:cNvSpPr>
          <p:nvPr>
            <p:ph sz="quarter" idx="20"/>
          </p:nvPr>
        </p:nvSpPr>
        <p:spPr>
          <a:xfrm>
            <a:off x="6556248" y="4399168"/>
            <a:ext cx="2587752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1918">
          <p15:clr>
            <a:srgbClr val="FBAE40"/>
          </p15:clr>
        </p15:guide>
        <p15:guide id="3" pos="2209">
          <p15:clr>
            <a:srgbClr val="FBAE40"/>
          </p15:clr>
        </p15:guide>
        <p15:guide id="4" pos="3839">
          <p15:clr>
            <a:srgbClr val="FBAE40"/>
          </p15:clr>
        </p15:guide>
        <p15:guide id="5" pos="4130">
          <p15:clr>
            <a:srgbClr val="FBAE40"/>
          </p15:clr>
        </p15:guide>
        <p15:guide id="6" orient="horz" pos="1187">
          <p15:clr>
            <a:srgbClr val="FBAE40"/>
          </p15:clr>
        </p15:guide>
        <p15:guide id="7" orient="horz" pos="2464" userDrawn="1">
          <p15:clr>
            <a:srgbClr val="FBAE40"/>
          </p15:clr>
        </p15:guide>
        <p15:guide id="8" orient="horz" pos="2766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169B7CDA-5C33-4521-B9BB-6E7DA7CBDB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0050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169B7CDA-5C33-4521-B9BB-6E7DA7CBDB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">
            <a:extLst>
              <a:ext uri="{FF2B5EF4-FFF2-40B4-BE49-F238E27FC236}">
                <a16:creationId xmlns:a16="http://schemas.microsoft.com/office/drawing/2014/main" id="{C4A07B7D-3275-49F6-5BBC-D73C3E2DF5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84048"/>
            <a:ext cx="8686800" cy="758952"/>
          </a:xfrm>
        </p:spPr>
        <p:txBody>
          <a:bodyPr vert="horz"/>
          <a:lstStyle/>
          <a:p>
            <a:r>
              <a:rPr lang="en-US"/>
              <a:t>Contents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32761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1918">
          <p15:clr>
            <a:srgbClr val="FBAE40"/>
          </p15:clr>
        </p15:guide>
        <p15:guide id="3" pos="2209">
          <p15:clr>
            <a:srgbClr val="FBAE40"/>
          </p15:clr>
        </p15:guide>
        <p15:guide id="4" pos="3839">
          <p15:clr>
            <a:srgbClr val="FBAE40"/>
          </p15:clr>
        </p15:guide>
        <p15:guide id="5" pos="4130">
          <p15:clr>
            <a:srgbClr val="FBAE40"/>
          </p15:clr>
        </p15:guide>
        <p15:guide id="6" orient="horz" pos="1187">
          <p15:clr>
            <a:srgbClr val="FBAE40"/>
          </p15:clr>
        </p15:guide>
        <p15:guide id="7" orient="horz" pos="2464" userDrawn="1">
          <p15:clr>
            <a:srgbClr val="FBAE40"/>
          </p15:clr>
        </p15:guide>
        <p15:guide id="8" orient="horz" pos="276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169B7CDA-5C33-4521-B9BB-6E7DA7CBDB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0050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169B7CDA-5C33-4521-B9BB-6E7DA7CBDB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7D3B5565-E4B2-17F8-F98F-8AE29A0284A8}"/>
              </a:ext>
            </a:extLst>
          </p:cNvPr>
          <p:cNvSpPr/>
          <p:nvPr userDrawn="1"/>
        </p:nvSpPr>
        <p:spPr>
          <a:xfrm>
            <a:off x="0" y="318976"/>
            <a:ext cx="9601200" cy="653902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200" kern="0" dirty="0" err="1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CDCE18-74DE-ABD0-763A-94149AE9DF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2026" y="2924944"/>
            <a:ext cx="2937147" cy="10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498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1918">
          <p15:clr>
            <a:srgbClr val="FBAE40"/>
          </p15:clr>
        </p15:guide>
        <p15:guide id="3" pos="2209">
          <p15:clr>
            <a:srgbClr val="FBAE40"/>
          </p15:clr>
        </p15:guide>
        <p15:guide id="4" pos="3839">
          <p15:clr>
            <a:srgbClr val="FBAE40"/>
          </p15:clr>
        </p15:guide>
        <p15:guide id="5" pos="4130">
          <p15:clr>
            <a:srgbClr val="FBAE40"/>
          </p15:clr>
        </p15:guide>
        <p15:guide id="6" orient="horz" pos="1187">
          <p15:clr>
            <a:srgbClr val="FBAE40"/>
          </p15:clr>
        </p15:guide>
        <p15:guide id="7" orient="horz" pos="2464" userDrawn="1">
          <p15:clr>
            <a:srgbClr val="FBAE40"/>
          </p15:clr>
        </p15:guide>
        <p15:guide id="8" orient="horz" pos="2766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BD5C15-A503-4AA3-99DD-E0A1842437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2338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BD5C15-A503-4AA3-99DD-E0A1842437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169B7CDA-5C33-4521-B9BB-6E7DA7CBDB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0050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169B7CDA-5C33-4521-B9BB-6E7DA7CBDB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7D3B5565-E4B2-17F8-F98F-8AE29A0284A8}"/>
              </a:ext>
            </a:extLst>
          </p:cNvPr>
          <p:cNvSpPr/>
          <p:nvPr userDrawn="1"/>
        </p:nvSpPr>
        <p:spPr>
          <a:xfrm>
            <a:off x="0" y="318976"/>
            <a:ext cx="9601200" cy="653902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200" kern="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580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1918">
          <p15:clr>
            <a:srgbClr val="FBAE40"/>
          </p15:clr>
        </p15:guide>
        <p15:guide id="3" pos="2209">
          <p15:clr>
            <a:srgbClr val="FBAE40"/>
          </p15:clr>
        </p15:guide>
        <p15:guide id="4" pos="3839">
          <p15:clr>
            <a:srgbClr val="FBAE40"/>
          </p15:clr>
        </p15:guide>
        <p15:guide id="5" pos="4130">
          <p15:clr>
            <a:srgbClr val="FBAE40"/>
          </p15:clr>
        </p15:guide>
        <p15:guide id="6" orient="horz" pos="1187">
          <p15:clr>
            <a:srgbClr val="FBAE40"/>
          </p15:clr>
        </p15:guide>
        <p15:guide id="7" orient="horz" pos="2464" userDrawn="1">
          <p15:clr>
            <a:srgbClr val="FBAE40"/>
          </p15:clr>
        </p15:guide>
        <p15:guide id="8" orient="horz" pos="276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22DE7B0-7514-46A2-9A81-69ADEF651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5191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22DE7B0-7514-46A2-9A81-69ADEF651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F293F1-02A6-4F6C-A11B-4EFF4D38D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681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F293F1-02A6-4F6C-A11B-4EFF4D38DB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86868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orient="horz" pos="118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3987572-B35C-485E-AD60-B5927902A1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514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3987572-B35C-485E-AD60-B5927902A1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86868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  <p:sp>
        <p:nvSpPr>
          <p:cNvPr id="4" name="Content"/>
          <p:cNvSpPr>
            <a:spLocks noGrp="1"/>
          </p:cNvSpPr>
          <p:nvPr>
            <p:ph idx="11"/>
          </p:nvPr>
        </p:nvSpPr>
        <p:spPr>
          <a:xfrm>
            <a:off x="457200" y="1883664"/>
            <a:ext cx="8686800" cy="43266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orient="horz" pos="118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3987572-B35C-485E-AD60-B5927902A1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514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3987572-B35C-485E-AD60-B5927902A1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ECAF221E-0BBB-9609-F4D4-90BB88A2B5D6}"/>
              </a:ext>
            </a:extLst>
          </p:cNvPr>
          <p:cNvSpPr/>
          <p:nvPr userDrawn="1"/>
        </p:nvSpPr>
        <p:spPr>
          <a:xfrm>
            <a:off x="0" y="1671782"/>
            <a:ext cx="9601200" cy="5186218"/>
          </a:xfrm>
          <a:prstGeom prst="rect">
            <a:avLst/>
          </a:prstGeom>
          <a:solidFill>
            <a:srgbClr val="F1F1F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SectionTitle">
            <a:extLst>
              <a:ext uri="{FF2B5EF4-FFF2-40B4-BE49-F238E27FC236}">
                <a16:creationId xmlns:a16="http://schemas.microsoft.com/office/drawing/2014/main" id="{DE763EDA-9FA7-F148-298C-AC95978DA9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3948397"/>
            <a:ext cx="8165592" cy="825867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9pPr>
          </a:lstStyle>
          <a:p>
            <a:pPr lvl="0"/>
            <a:r>
              <a:rPr dirty="0"/>
              <a:t>Section title</a:t>
            </a:r>
          </a:p>
          <a:p>
            <a:pPr lvl="1"/>
            <a:r>
              <a:rPr dirty="0"/>
              <a:t>Section subtitle</a:t>
            </a:r>
          </a:p>
        </p:txBody>
      </p:sp>
      <p:sp>
        <p:nvSpPr>
          <p:cNvPr id="8" name="SectionNumber">
            <a:extLst>
              <a:ext uri="{FF2B5EF4-FFF2-40B4-BE49-F238E27FC236}">
                <a16:creationId xmlns:a16="http://schemas.microsoft.com/office/drawing/2014/main" id="{F8736B85-F16F-F100-F78A-59BB56E712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3256644"/>
            <a:ext cx="8165592" cy="615553"/>
          </a:xfrm>
        </p:spPr>
        <p:txBody>
          <a:bodyPr lIns="0" tIns="0" rIns="0" bIns="0" anchor="b"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dirty="0"/>
              <a:t>##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EEE81D4-9288-164C-BE1F-34DAD6FCEFE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1" y="6480083"/>
            <a:ext cx="3469071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694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orient="horz" pos="118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397B0A-45CA-4711-96B3-F4E9739F0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5974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397B0A-45CA-4711-96B3-F4E9739F0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Left"/>
          <p:cNvSpPr>
            <a:spLocks noGrp="1"/>
          </p:cNvSpPr>
          <p:nvPr>
            <p:ph idx="11"/>
          </p:nvPr>
        </p:nvSpPr>
        <p:spPr>
          <a:xfrm>
            <a:off x="457200" y="1399032"/>
            <a:ext cx="4114800" cy="481126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Right"/>
          <p:cNvSpPr>
            <a:spLocks noGrp="1"/>
          </p:cNvSpPr>
          <p:nvPr>
            <p:ph idx="12"/>
          </p:nvPr>
        </p:nvSpPr>
        <p:spPr>
          <a:xfrm>
            <a:off x="5029200" y="1399032"/>
            <a:ext cx="4114800" cy="481126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2880">
          <p15:clr>
            <a:srgbClr val="FBAE40"/>
          </p15:clr>
        </p15:guide>
        <p15:guide id="3" pos="316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6E1F543-EB1B-466F-8A5C-15E71AF0F5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9241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6E1F543-EB1B-466F-8A5C-15E71AF0F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41148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2880">
          <p15:clr>
            <a:srgbClr val="FBAE40"/>
          </p15:clr>
        </p15:guide>
        <p15:guide id="3" pos="3168">
          <p15:clr>
            <a:srgbClr val="FBAE40"/>
          </p15:clr>
        </p15:guide>
        <p15:guide id="4" orient="horz" pos="118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651923F-EA4A-4957-8163-4C7EF50E7E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75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651923F-EA4A-4957-8163-4C7EF50E7E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41148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883664"/>
            <a:ext cx="4114800" cy="43266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5029200" y="1883664"/>
            <a:ext cx="4114800" cy="43266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2880">
          <p15:clr>
            <a:srgbClr val="FBAE40"/>
          </p15:clr>
        </p15:guide>
        <p15:guide id="3" pos="3168">
          <p15:clr>
            <a:srgbClr val="FBAE40"/>
          </p15:clr>
        </p15:guide>
        <p15:guide id="4" orient="horz" pos="118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EFBF257-48EC-469B-AA5B-C3F9127279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493284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3" imgH="473" progId="TCLayout.ActiveDocument.1">
                  <p:embed/>
                </p:oleObj>
              </mc:Choice>
              <mc:Fallback>
                <p:oleObj name="think-cell Slide" r:id="rId23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EFBF257-48EC-469B-AA5B-C3F912727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A8A7B63-96DE-46F6-BB80-21196794B278}"/>
              </a:ext>
            </a:extLst>
          </p:cNvPr>
          <p:cNvSpPr/>
          <p:nvPr userDrawn="1"/>
        </p:nvSpPr>
        <p:spPr>
          <a:xfrm>
            <a:off x="0" y="6327775"/>
            <a:ext cx="9601200" cy="530225"/>
          </a:xfrm>
          <a:prstGeom prst="rect">
            <a:avLst/>
          </a:prstGeom>
          <a:solidFill>
            <a:srgbClr val="01216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>
              <a:solidFill>
                <a:schemeClr val="tx1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  <a:prstGeom prst="rect">
            <a:avLst/>
          </a:prstGeom>
        </p:spPr>
        <p:txBody>
          <a:bodyPr vert="horz" lIns="0" tIns="0" rIns="0" bIns="0" rtlCol="0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457200" y="1399032"/>
            <a:ext cx="8686800" cy="48112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57200" y="6864350"/>
            <a:ext cx="314325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00">
                <a:solidFill>
                  <a:schemeClr val="tx1"/>
                </a:solidFill>
              </a:defRPr>
            </a:lvl1pPr>
          </a:lstStyle>
          <a:p>
            <a:fld id="{3E53276F-091D-43D9-A91C-40C8E66861D5}" type="datetime1">
              <a:rPr lang="en-US" smtClean="0"/>
              <a:t>4/2/2024</a:t>
            </a:fld>
            <a:endParaRPr lang="en-US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71525" y="6864350"/>
            <a:ext cx="533400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3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304925" y="6864350"/>
            <a:ext cx="152400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00">
                <a:solidFill>
                  <a:schemeClr val="tx1"/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SlideNumber"/>
          <p:cNvSpPr txBox="1"/>
          <p:nvPr userDrawn="1"/>
        </p:nvSpPr>
        <p:spPr>
          <a:xfrm>
            <a:off x="155251" y="6511139"/>
            <a:ext cx="157094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63CC74-D785-4C96-8C6E-EB177D1B9A1D}" type="slidenum">
              <a:rPr lang="en-US" sz="1000" smtClean="0">
                <a:solidFill>
                  <a:schemeClr val="bg1"/>
                </a:solidFill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97" y="6480083"/>
            <a:ext cx="3469061" cy="216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E0CA61A-2C55-D897-1209-C644D690175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4570413" y="63500"/>
            <a:ext cx="4889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FICI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BC959A6-5DAF-C09D-0BE0-E083FD8FB7DF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4570413" y="6642100"/>
            <a:ext cx="4889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FIC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50" r:id="rId2"/>
    <p:sldLayoutId id="2147483654" r:id="rId3"/>
    <p:sldLayoutId id="2147483657" r:id="rId4"/>
    <p:sldLayoutId id="2147483659" r:id="rId5"/>
    <p:sldLayoutId id="2147483674" r:id="rId6"/>
    <p:sldLayoutId id="2147483652" r:id="rId7"/>
    <p:sldLayoutId id="2147483660" r:id="rId8"/>
    <p:sldLayoutId id="2147483653" r:id="rId9"/>
    <p:sldLayoutId id="2147483658" r:id="rId10"/>
    <p:sldLayoutId id="2147483667" r:id="rId11"/>
    <p:sldLayoutId id="2147483668" r:id="rId12"/>
    <p:sldLayoutId id="2147483665" r:id="rId13"/>
    <p:sldLayoutId id="2147483666" r:id="rId14"/>
    <p:sldLayoutId id="2147483664" r:id="rId15"/>
    <p:sldLayoutId id="2147483661" r:id="rId16"/>
    <p:sldLayoutId id="2147483672" r:id="rId17"/>
    <p:sldLayoutId id="2147483675" r:id="rId18"/>
    <p:sldLayoutId id="2147483676" r:id="rId19"/>
    <p:sldLayoutId id="2147483677" r:id="rId20"/>
  </p:sldLayoutIdLst>
  <p:hf sldNum="0" hdr="0" ftr="0" dt="0"/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20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1400" ker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/>
      <a:lvl1pPr marL="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18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36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54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72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90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108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126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144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">
          <p15:clr>
            <a:srgbClr val="F26B43"/>
          </p15:clr>
        </p15:guide>
        <p15:guide id="2" pos="5760">
          <p15:clr>
            <a:srgbClr val="F26B43"/>
          </p15:clr>
        </p15:guide>
        <p15:guide id="3" orient="horz" pos="242">
          <p15:clr>
            <a:srgbClr val="F26B43"/>
          </p15:clr>
        </p15:guide>
        <p15:guide id="4" orient="horz" pos="3984" userDrawn="1">
          <p15:clr>
            <a:srgbClr val="F26B43"/>
          </p15:clr>
        </p15:guide>
        <p15:guide id="5" orient="horz" pos="391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en.wikipedia.org/wiki/File:Flag_of_the_United_States.svg" TargetMode="External"/><Relationship Id="rId5" Type="http://schemas.openxmlformats.org/officeDocument/2006/relationships/image" Target="../media/image6.png"/><Relationship Id="rId4" Type="http://schemas.openxmlformats.org/officeDocument/2006/relationships/hyperlink" Target="https://www.publicdomainpictures.net/view-image.php?image=37970&amp;picture=flag-of-uk&amp;large=1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en.wikipedia.org/wiki/Flag_of_Colorado" TargetMode="External"/><Relationship Id="rId5" Type="http://schemas.openxmlformats.org/officeDocument/2006/relationships/image" Target="../media/image7.png"/><Relationship Id="rId4" Type="http://schemas.openxmlformats.org/officeDocument/2006/relationships/hyperlink" Target="https://www.publicdomainpictures.net/view-image.php?image=37970&amp;picture=flag-of-uk&amp;large=1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E5072B-CF49-4D4A-941E-9C792A8823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5289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E5072B-CF49-4D4A-941E-9C792A882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7EC71B3-C3F6-4D5E-BCC7-1157A4B3BB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rin Kuh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9C470F7-73E8-43F1-AFB5-B45C094409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British </a:t>
            </a:r>
            <a:r>
              <a:rPr lang="en-US" dirty="0"/>
              <a:t>Consul – UK Government Office, Denv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CA73854-5015-41DF-ACF3-6EEF26C7997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pril 2024</a:t>
            </a:r>
          </a:p>
        </p:txBody>
      </p:sp>
    </p:spTree>
    <p:extLst>
      <p:ext uri="{BB962C8B-B14F-4D97-AF65-F5344CB8AC3E}">
        <p14:creationId xmlns:p14="http://schemas.microsoft.com/office/powerpoint/2010/main" val="16405244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B0EE8B-372B-4248-B9FE-F6BE271517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1012" y="1869043"/>
            <a:ext cx="8505825" cy="5293757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/>
              <a:t>UK Economic Overview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32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/>
              <a:t>UK/US Trade &amp; Investment Relationship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32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/>
              <a:t>UK/US Defence Relationship</a:t>
            </a:r>
          </a:p>
          <a:p>
            <a:pPr>
              <a:buNone/>
            </a:pPr>
            <a:endParaRPr lang="en-GB" sz="32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/>
              <a:t>Cultural, Linguistic, Historic Ties</a:t>
            </a:r>
          </a:p>
          <a:p>
            <a:pPr>
              <a:buNone/>
            </a:pPr>
            <a:endParaRPr lang="en-GB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dirty="0"/>
          </a:p>
          <a:p>
            <a:pPr>
              <a:buNone/>
            </a:pP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2AD5DB-D69D-3DDF-CA08-13F3D1F755E2}"/>
              </a:ext>
            </a:extLst>
          </p:cNvPr>
          <p:cNvSpPr txBox="1"/>
          <p:nvPr/>
        </p:nvSpPr>
        <p:spPr>
          <a:xfrm>
            <a:off x="0" y="461878"/>
            <a:ext cx="9601200" cy="1133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Aft>
                <a:spcPts val="200"/>
              </a:spcAft>
              <a:buFont typeface="Arial" panose="020B0604020202020204" pitchFamily="34" charset="0"/>
              <a:buChar char="​"/>
            </a:pPr>
            <a:r>
              <a:rPr lang="en-GB" sz="3600" b="1" kern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UK-US</a:t>
            </a:r>
          </a:p>
          <a:p>
            <a:pPr algn="ctr" fontAlgn="base">
              <a:spcAft>
                <a:spcPts val="200"/>
              </a:spcAft>
              <a:buFont typeface="Arial" panose="020B0604020202020204" pitchFamily="34" charset="0"/>
              <a:buChar char="​"/>
            </a:pPr>
            <a:r>
              <a:rPr lang="en-GB" sz="3600" b="1" kern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Special Relationship</a:t>
            </a:r>
            <a:endParaRPr lang="en-US" sz="3600" b="1" kern="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" name="Picture 7" descr="A flag with a cross&#10;&#10;Description automatically generated">
            <a:extLst>
              <a:ext uri="{FF2B5EF4-FFF2-40B4-BE49-F238E27FC236}">
                <a16:creationId xmlns:a16="http://schemas.microsoft.com/office/drawing/2014/main" id="{8A02A67E-8BED-D2F1-798E-CC54F30D78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0" y="461877"/>
            <a:ext cx="1499616" cy="749808"/>
          </a:xfrm>
          <a:prstGeom prst="rect">
            <a:avLst/>
          </a:prstGeom>
        </p:spPr>
      </p:pic>
      <p:pic>
        <p:nvPicPr>
          <p:cNvPr id="10" name="Picture 9" descr="A flag with stars and stripes&#10;&#10;Description automatically generated">
            <a:extLst>
              <a:ext uri="{FF2B5EF4-FFF2-40B4-BE49-F238E27FC236}">
                <a16:creationId xmlns:a16="http://schemas.microsoft.com/office/drawing/2014/main" id="{86134001-65D8-7EED-9D95-2B6C73853D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8172450" y="492427"/>
            <a:ext cx="1428750" cy="752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870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871D35-6DAE-F0C7-82EC-862845025C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15320D-211B-3656-BFCF-C986014105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7687" y="2207222"/>
            <a:ext cx="8505825" cy="5293757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/>
              <a:t>Economic/Business Growth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32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/>
              <a:t>Defence Ti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32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/>
              <a:t>Shared Policy Objectiv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32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200" dirty="0"/>
              <a:t>Increasing Tourism</a:t>
            </a:r>
          </a:p>
          <a:p>
            <a:pPr>
              <a:buNone/>
            </a:pPr>
            <a:endParaRPr lang="en-GB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dirty="0"/>
          </a:p>
          <a:p>
            <a:pPr>
              <a:buNone/>
            </a:pP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2FA27AE-E41A-5812-A550-85CAB25A7AA2}"/>
              </a:ext>
            </a:extLst>
          </p:cNvPr>
          <p:cNvSpPr txBox="1"/>
          <p:nvPr/>
        </p:nvSpPr>
        <p:spPr>
          <a:xfrm>
            <a:off x="0" y="461878"/>
            <a:ext cx="960120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Aft>
                <a:spcPts val="200"/>
              </a:spcAft>
              <a:buFont typeface="Arial" panose="020B0604020202020204" pitchFamily="34" charset="0"/>
              <a:buChar char="​"/>
            </a:pPr>
            <a:r>
              <a:rPr lang="en-GB" sz="3600" b="1" kern="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UK-Colorado Relationship</a:t>
            </a:r>
            <a:endParaRPr lang="en-US" sz="3600" b="1" kern="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" name="Picture 7" descr="A flag with a cross&#10;&#10;Description automatically generated">
            <a:extLst>
              <a:ext uri="{FF2B5EF4-FFF2-40B4-BE49-F238E27FC236}">
                <a16:creationId xmlns:a16="http://schemas.microsoft.com/office/drawing/2014/main" id="{5E6D70AB-8278-D6C0-CB24-3CE3CF9E77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0" y="461877"/>
            <a:ext cx="1499616" cy="749808"/>
          </a:xfrm>
          <a:prstGeom prst="rect">
            <a:avLst/>
          </a:prstGeom>
        </p:spPr>
      </p:pic>
      <p:pic>
        <p:nvPicPr>
          <p:cNvPr id="4" name="Picture 3" descr="A flag with a red circle and a white stripe&#10;&#10;Description automatically generated">
            <a:extLst>
              <a:ext uri="{FF2B5EF4-FFF2-40B4-BE49-F238E27FC236}">
                <a16:creationId xmlns:a16="http://schemas.microsoft.com/office/drawing/2014/main" id="{BFD2C1DD-B429-E032-EF53-EEBDB5510BF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8282559" y="444664"/>
            <a:ext cx="1318641" cy="879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7985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CDO standard 4:3">
  <a:themeElements>
    <a:clrScheme name="Vanilla">
      <a:dk1>
        <a:srgbClr val="000000"/>
      </a:dk1>
      <a:lt1>
        <a:srgbClr val="FFFFFF"/>
      </a:lt1>
      <a:dk2>
        <a:srgbClr val="143172"/>
      </a:dk2>
      <a:lt2>
        <a:srgbClr val="FFFFFF"/>
      </a:lt2>
      <a:accent1>
        <a:srgbClr val="143172"/>
      </a:accent1>
      <a:accent2>
        <a:srgbClr val="407EC9"/>
      </a:accent2>
      <a:accent3>
        <a:srgbClr val="5CB8B2"/>
      </a:accent3>
      <a:accent4>
        <a:srgbClr val="C8C9C7"/>
      </a:accent4>
      <a:accent5>
        <a:srgbClr val="833177"/>
      </a:accent5>
      <a:accent6>
        <a:srgbClr val="C8102E"/>
      </a:accent6>
      <a:hlink>
        <a:srgbClr val="515151"/>
      </a:hlink>
      <a:folHlink>
        <a:srgbClr val="CBCBCB"/>
      </a:folHlink>
    </a:clrScheme>
    <a:fontScheme name="OW_FC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  <a:miter lim="800000"/>
        </a:ln>
      </a:spPr>
      <a:bodyPr lIns="73152" tIns="73152" rIns="73152" bIns="73152" rtlCol="0" anchor="ctr"/>
      <a:lstStyle>
        <a:defPPr algn="ctr">
          <a:defRPr sz="12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200" kern="0" dirty="0" smtClean="0"/>
        </a:defPPr>
      </a:lstStyle>
    </a:txDef>
  </a:objectDefaults>
  <a:extraClrSchemeLst/>
  <a:custClrLst>
    <a:custClr name="Flag blue">
      <a:srgbClr val="143172"/>
    </a:custClr>
    <a:custClr name="Red flag">
      <a:srgbClr val="C8102E"/>
    </a:custClr>
    <a:custClr name="Light blue">
      <a:srgbClr val="407EC9"/>
    </a:custClr>
    <a:custClr name="Purple">
      <a:srgbClr val="833177"/>
    </a:custClr>
    <a:custClr name="Teal">
      <a:srgbClr val="5CB8B2"/>
    </a:custClr>
    <a:custClr name="Gold">
      <a:srgbClr val="EAAA00"/>
    </a:custClr>
    <a:custClr name="Silver">
      <a:srgbClr val="C8C9C7"/>
    </a:custClr>
    <a:custClr name="Emerald">
      <a:srgbClr val="00B140"/>
    </a:custClr>
    <a:custClr name="Black">
      <a:srgbClr val="000000"/>
    </a:custClr>
    <a:custClr name="45%">
      <a:srgbClr val="A4A4A4"/>
    </a:custClr>
    <a:custClr name="Flag blue 75%">
      <a:srgbClr val="415891"/>
    </a:custClr>
    <a:custClr name="Red flag 75%">
      <a:srgbClr val="D84D61"/>
    </a:custClr>
    <a:custClr name="Light blue 75%">
      <a:srgbClr val="71A0D8"/>
    </a:custClr>
    <a:custClr name="Purple 75%">
      <a:srgbClr val="A26599"/>
    </a:custClr>
    <a:custClr name="Teal 75%">
      <a:srgbClr val="85CAC5"/>
    </a:custClr>
    <a:custClr name="Gold 75%">
      <a:srgbClr val="EFBF40"/>
    </a:custClr>
    <a:custClr name="Silver 75%">
      <a:srgbClr val="D6D7D5"/>
    </a:custClr>
    <a:custClr name="Emerald 75%">
      <a:srgbClr val="40C56F"/>
    </a:custClr>
    <a:custClr name="85%">
      <a:srgbClr val="262626"/>
    </a:custClr>
    <a:custClr name="35%">
      <a:srgbClr val="BFBFBF"/>
    </a:custClr>
    <a:custClr name="Flag blue 50%">
      <a:srgbClr val="808FB3"/>
    </a:custClr>
    <a:custClr name="Red flag 50%">
      <a:srgbClr val="E38696"/>
    </a:custClr>
    <a:custClr name="Light blue 50%">
      <a:srgbClr val="9EBEE4"/>
    </a:custClr>
    <a:custClr name="Purple 50%">
      <a:srgbClr val="C198BB"/>
    </a:custClr>
    <a:custClr name="Teal 50%">
      <a:srgbClr val="ADDBD9"/>
    </a:custClr>
    <a:custClr name="Gold 50%">
      <a:srgbClr val="F5D580"/>
    </a:custClr>
    <a:custClr name="Silver 50%">
      <a:srgbClr val="E3E4E3"/>
    </a:custClr>
    <a:custClr name="Emerald 50%">
      <a:srgbClr val="80D8A1"/>
    </a:custClr>
    <a:custClr name="75%">
      <a:srgbClr val="404040"/>
    </a:custClr>
    <a:custClr name="25%">
      <a:srgbClr val="D9D9D9"/>
    </a:custClr>
    <a:custClr name="Flag blue 25%">
      <a:srgbClr val="BFC7D9"/>
    </a:custClr>
    <a:custClr name="Red flag 25%">
      <a:srgbClr val="F3C4CE"/>
    </a:custClr>
    <a:custClr name="Light blue 25%">
      <a:srgbClr val="CEDFF3"/>
    </a:custClr>
    <a:custClr name="Purple 25%">
      <a:srgbClr val="E0CBDD"/>
    </a:custClr>
    <a:custClr name="Teal 25%">
      <a:srgbClr val="D6EDEC"/>
    </a:custClr>
    <a:custClr name="Gold 25%">
      <a:srgbClr val="FAEABF"/>
    </a:custClr>
    <a:custClr name="Silver 25%">
      <a:srgbClr val="F1F1F1"/>
    </a:custClr>
    <a:custClr name="Emerald 25%">
      <a:srgbClr val="BFEBCF"/>
    </a:custClr>
    <a:custClr name="65%">
      <a:srgbClr val="595959"/>
    </a:custClr>
    <a:custClr name="15%">
      <a:srgbClr val="F2F2F2"/>
    </a:custClr>
    <a:custClr name="Flag blue 15%">
      <a:srgbClr val="D9DEE8"/>
    </a:custClr>
    <a:custClr name="Red flag 15%">
      <a:srgbClr val="F7DCE1"/>
    </a:custClr>
    <a:custClr name="Light blue 15%">
      <a:srgbClr val="E4ECF4"/>
    </a:custClr>
    <a:custClr name="Purple 15%">
      <a:srgbClr val="ECE0EB"/>
    </a:custClr>
    <a:custClr name="Teal 15%">
      <a:srgbClr val="E7F4F3"/>
    </a:custClr>
    <a:custClr name="Gold 15%">
      <a:srgbClr val="FCF2D9"/>
    </a:custClr>
    <a:custClr name="Silver 15%">
      <a:srgbClr val="F7F7F7"/>
    </a:custClr>
    <a:custClr name="Emerald 15%">
      <a:srgbClr val="D9F3E0"/>
    </a:custClr>
    <a:custClr name="55%">
      <a:srgbClr val="7F7F7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FCDO Standard template" id="{417174FF-7072-4C65-B6B1-5A7AEE32589D}" vid="{1CDC6774-4529-4B89-B6FB-FBACA953B091}"/>
    </a:ext>
  </a:extLst>
</a:theme>
</file>

<file path=ppt/theme/theme2.xml><?xml version="1.0" encoding="utf-8"?>
<a:theme xmlns:a="http://schemas.openxmlformats.org/drawingml/2006/main" name="Vanilla">
  <a:themeElements>
    <a:clrScheme name="Vanilla">
      <a:dk1>
        <a:sysClr val="windowText" lastClr="000000"/>
      </a:dk1>
      <a:lt1>
        <a:sysClr val="window" lastClr="FFFFFF"/>
      </a:lt1>
      <a:dk2>
        <a:srgbClr val="28356A"/>
      </a:dk2>
      <a:lt2>
        <a:srgbClr val="FFFFFF"/>
      </a:lt2>
      <a:accent1>
        <a:srgbClr val="4A5FBA"/>
      </a:accent1>
      <a:accent2>
        <a:srgbClr val="A6B1DE"/>
      </a:accent2>
      <a:accent3>
        <a:srgbClr val="515151"/>
      </a:accent3>
      <a:accent4>
        <a:srgbClr val="CBCBCB"/>
      </a:accent4>
      <a:accent5>
        <a:srgbClr val="964698"/>
      </a:accent5>
      <a:accent6>
        <a:srgbClr val="D5A6D6"/>
      </a:accent6>
      <a:hlink>
        <a:srgbClr val="515151"/>
      </a:hlink>
      <a:folHlink>
        <a:srgbClr val="CBCBCB"/>
      </a:folHlink>
    </a:clrScheme>
    <a:fontScheme name="Vanilla">
      <a:majorFont>
        <a:latin typeface="Calibri"/>
        <a:ea typeface=""/>
        <a:cs typeface=""/>
        <a:font script="Jpan" typeface="Meiryo"/>
        <a:font script="Hang" typeface="맑은 고딕"/>
        <a:font script="Hans" typeface="DengXian"/>
        <a:font script="Hant" typeface="DengXian"/>
        <a:font script="Arab" typeface="Dubai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Meiryo"/>
        <a:font script="Hang" typeface="맑은 고딕"/>
        <a:font script="Hans" typeface="DengXian"/>
        <a:font script="Hant" typeface="DengXian"/>
        <a:font script="Arab" typeface="Duba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Calibri"/>
        <a:font script="Uigh" typeface="Microsoft Uighur"/>
        <a:font script="Geor" typeface="Sylfaen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  <a:miter lim="800000"/>
        </a:ln>
      </a:spPr>
      <a:bodyPr lIns="73152" tIns="73152" rIns="73152" bIns="73152" rtlCol="0" anchor="ctr"/>
      <a:lstStyle>
        <a:defPPr algn="ctr">
          <a:defRPr sz="12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200" kern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anilla.potx" id="{F6D262A5-B963-48E1-A2E3-3CBDBDB49CFF}" vid="{F53D162F-CDEA-4A23-9BC9-56CEC427F37C}"/>
    </a:ext>
  </a:extLst>
</a:theme>
</file>

<file path=ppt/theme/theme3.xml><?xml version="1.0" encoding="utf-8"?>
<a:theme xmlns:a="http://schemas.openxmlformats.org/drawingml/2006/main" name="Vanilla">
  <a:themeElements>
    <a:clrScheme name="Vanilla">
      <a:dk1>
        <a:sysClr val="windowText" lastClr="000000"/>
      </a:dk1>
      <a:lt1>
        <a:sysClr val="window" lastClr="FFFFFF"/>
      </a:lt1>
      <a:dk2>
        <a:srgbClr val="28356A"/>
      </a:dk2>
      <a:lt2>
        <a:srgbClr val="FFFFFF"/>
      </a:lt2>
      <a:accent1>
        <a:srgbClr val="4A5FBA"/>
      </a:accent1>
      <a:accent2>
        <a:srgbClr val="A6B1DE"/>
      </a:accent2>
      <a:accent3>
        <a:srgbClr val="515151"/>
      </a:accent3>
      <a:accent4>
        <a:srgbClr val="CBCBCB"/>
      </a:accent4>
      <a:accent5>
        <a:srgbClr val="964698"/>
      </a:accent5>
      <a:accent6>
        <a:srgbClr val="D5A6D6"/>
      </a:accent6>
      <a:hlink>
        <a:srgbClr val="515151"/>
      </a:hlink>
      <a:folHlink>
        <a:srgbClr val="CBCBCB"/>
      </a:folHlink>
    </a:clrScheme>
    <a:fontScheme name="Vanilla">
      <a:majorFont>
        <a:latin typeface="Calibri"/>
        <a:ea typeface=""/>
        <a:cs typeface=""/>
        <a:font script="Jpan" typeface="Meiryo"/>
        <a:font script="Hang" typeface="맑은 고딕"/>
        <a:font script="Hans" typeface="DengXian"/>
        <a:font script="Hant" typeface="DengXian"/>
        <a:font script="Arab" typeface="Dubai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Meiryo"/>
        <a:font script="Hang" typeface="맑은 고딕"/>
        <a:font script="Hans" typeface="DengXian"/>
        <a:font script="Hant" typeface="DengXian"/>
        <a:font script="Arab" typeface="Duba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Calibri"/>
        <a:font script="Uigh" typeface="Microsoft Uighur"/>
        <a:font script="Geor" typeface="Sylfaen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  <a:miter lim="800000"/>
        </a:ln>
      </a:spPr>
      <a:bodyPr lIns="73152" tIns="73152" rIns="73152" bIns="73152" rtlCol="0" anchor="ctr"/>
      <a:lstStyle>
        <a:defPPr algn="ctr">
          <a:defRPr sz="12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200" kern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anilla.potx" id="{F6D262A5-B963-48E1-A2E3-3CBDBDB49CFF}" vid="{F53D162F-CDEA-4A23-9BC9-56CEC427F37C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6c77997-693c-4dcc-b48c-df69b481f8d1" xsi:nil="true"/>
    <lcf76f155ced4ddcb4097134ff3c332f xmlns="40e9b2b1-47a2-419f-b9f3-a64edfee8861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67E4FFB8BBAB64DAD71ABC4037D05D7" ma:contentTypeVersion="18" ma:contentTypeDescription="Create a new document." ma:contentTypeScope="" ma:versionID="062afbd04931934cf652de33fe61e01a">
  <xsd:schema xmlns:xsd="http://www.w3.org/2001/XMLSchema" xmlns:xs="http://www.w3.org/2001/XMLSchema" xmlns:p="http://schemas.microsoft.com/office/2006/metadata/properties" xmlns:ns2="40e9b2b1-47a2-419f-b9f3-a64edfee8861" xmlns:ns3="f6c77997-693c-4dcc-b48c-df69b481f8d1" targetNamespace="http://schemas.microsoft.com/office/2006/metadata/properties" ma:root="true" ma:fieldsID="43b743cab63565e6b6744f466ae40d55" ns2:_="" ns3:_="">
    <xsd:import namespace="40e9b2b1-47a2-419f-b9f3-a64edfee8861"/>
    <xsd:import namespace="f6c77997-693c-4dcc-b48c-df69b481f8d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e9b2b1-47a2-419f-b9f3-a64edfee88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f659ed9d-ad71-4c80-a195-1badd75ace7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c77997-693c-4dcc-b48c-df69b481f8d1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83456e64-6445-45ef-ae7e-0ca51fdbc6cd}" ma:internalName="TaxCatchAll" ma:showField="CatchAllData" ma:web="f6c77997-693c-4dcc-b48c-df69b481f8d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B87470C-C308-4851-91CC-74E6C07FE6EF}">
  <ds:schemaRefs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www.w3.org/XML/1998/namespace"/>
    <ds:schemaRef ds:uri="http://schemas.microsoft.com/office/2006/documentManagement/types"/>
    <ds:schemaRef ds:uri="http://purl.org/dc/dcmitype/"/>
    <ds:schemaRef ds:uri="23e97536-2476-4afa-96d7-14576f8cfed3"/>
    <ds:schemaRef ds:uri="http://schemas.openxmlformats.org/package/2006/metadata/core-properties"/>
    <ds:schemaRef ds:uri="e0de7985-25e6-45a6-9b44-a2a4a74aa2a9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69F41DBE-144C-48BE-9B5F-443B2F98201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F2C1488-FEFC-4B7D-9C85-5F00EB5D0EE3}"/>
</file>

<file path=docMetadata/LabelInfo.xml><?xml version="1.0" encoding="utf-8"?>
<clbl:labelList xmlns:clbl="http://schemas.microsoft.com/office/2020/mipLabelMetadata">
  <clbl:label id="{9e9cc48d-6fba-4c12-9882-137473def580}" enabled="1" method="Privileged" siteId="{d3a2d0d3-7cc8-4f52-bbf9-85bd43d94279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87</TotalTime>
  <Words>53</Words>
  <Application>Microsoft Office PowerPoint</Application>
  <PresentationFormat>Custom</PresentationFormat>
  <Paragraphs>25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</vt:lpstr>
      <vt:lpstr>FCDO standard 4:3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in Kuhn</dc:creator>
  <cp:keywords>TemplateVersion: DTP.PPTVanilla.20200102.3</cp:keywords>
  <cp:lastModifiedBy>Erin Kuhn</cp:lastModifiedBy>
  <cp:revision>1</cp:revision>
  <dcterms:created xsi:type="dcterms:W3CDTF">2024-04-02T17:02:37Z</dcterms:created>
  <dcterms:modified xsi:type="dcterms:W3CDTF">2024-04-03T01:0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20/01/03</vt:lpwstr>
  </property>
  <property fmtid="{D5CDD505-2E9C-101B-9397-08002B2CF9AE}" pid="3" name="DocumentMSOLanguageID">
    <vt:lpwstr>msoLanguageIDEnglishUS</vt:lpwstr>
  </property>
  <property fmtid="{D5CDD505-2E9C-101B-9397-08002B2CF9AE}" pid="4" name="ContentTypeId">
    <vt:lpwstr>0x010100E42F5F9D69E3EB42A99E60777C9AFCA7</vt:lpwstr>
  </property>
  <property fmtid="{D5CDD505-2E9C-101B-9397-08002B2CF9AE}" pid="5" name="MediaServiceImageTags">
    <vt:lpwstr/>
  </property>
  <property fmtid="{D5CDD505-2E9C-101B-9397-08002B2CF9AE}" pid="6" name="ClassificationContentMarkingFooterLocations">
    <vt:lpwstr>FCDO standard 4\:3:14</vt:lpwstr>
  </property>
  <property fmtid="{D5CDD505-2E9C-101B-9397-08002B2CF9AE}" pid="7" name="ClassificationContentMarkingFooterText">
    <vt:lpwstr>OFFICIAL</vt:lpwstr>
  </property>
  <property fmtid="{D5CDD505-2E9C-101B-9397-08002B2CF9AE}" pid="8" name="ClassificationContentMarkingHeaderLocations">
    <vt:lpwstr>FCDO standard 4\:3:13</vt:lpwstr>
  </property>
  <property fmtid="{D5CDD505-2E9C-101B-9397-08002B2CF9AE}" pid="9" name="ClassificationContentMarkingHeaderText">
    <vt:lpwstr>OFFICIAL</vt:lpwstr>
  </property>
</Properties>
</file>